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0" r:id="rId4"/>
  </p:sldMasterIdLst>
  <p:notesMasterIdLst>
    <p:notesMasterId r:id="rId12"/>
  </p:notesMasterIdLst>
  <p:handoutMasterIdLst>
    <p:handoutMasterId r:id="rId13"/>
  </p:handoutMasterIdLst>
  <p:sldIdLst>
    <p:sldId id="991" r:id="rId5"/>
    <p:sldId id="992" r:id="rId6"/>
    <p:sldId id="998" r:id="rId7"/>
    <p:sldId id="993" r:id="rId8"/>
    <p:sldId id="996" r:id="rId9"/>
    <p:sldId id="997" r:id="rId10"/>
    <p:sldId id="995" r:id="rId11"/>
  </p:sldIdLst>
  <p:sldSz cx="9906000" cy="6858000" type="A4"/>
  <p:notesSz cx="6797675" cy="9926638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4" orient="horz" pos="4320" userDrawn="1">
          <p15:clr>
            <a:srgbClr val="A4A3A4"/>
          </p15:clr>
        </p15:guide>
        <p15:guide id="5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6456"/>
    <a:srgbClr val="FFCB99"/>
    <a:srgbClr val="CDD773"/>
    <a:srgbClr val="FFFF99"/>
    <a:srgbClr val="CEEAB0"/>
    <a:srgbClr val="9B5909"/>
    <a:srgbClr val="F297D8"/>
    <a:srgbClr val="653131"/>
    <a:srgbClr val="A79D8F"/>
    <a:srgbClr val="AA8B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4" autoAdjust="0"/>
    <p:restoredTop sz="94249" autoAdjust="0"/>
  </p:normalViewPr>
  <p:slideViewPr>
    <p:cSldViewPr snapToGrid="0">
      <p:cViewPr>
        <p:scale>
          <a:sx n="64" d="100"/>
          <a:sy n="64" d="100"/>
        </p:scale>
        <p:origin x="1356" y="246"/>
      </p:cViewPr>
      <p:guideLst>
        <p:guide orient="horz"/>
        <p:guide orient="horz" pos="4320"/>
        <p:guide pos="312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30" d="100"/>
        <a:sy n="130" d="100"/>
      </p:scale>
      <p:origin x="0" y="-12456"/>
    </p:cViewPr>
  </p:sorterViewPr>
  <p:notesViewPr>
    <p:cSldViewPr snapToGrid="0">
      <p:cViewPr>
        <p:scale>
          <a:sx n="1" d="2"/>
          <a:sy n="1" d="2"/>
        </p:scale>
        <p:origin x="2088" y="174"/>
      </p:cViewPr>
      <p:guideLst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2638" tIns="46319" rIns="92638" bIns="46319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2638" tIns="46319" rIns="92638" bIns="46319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2/26/2021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6"/>
            <a:ext cx="2945659" cy="496332"/>
          </a:xfrm>
          <a:prstGeom prst="rect">
            <a:avLst/>
          </a:prstGeom>
        </p:spPr>
        <p:txBody>
          <a:bodyPr vert="horz" lIns="92638" tIns="46319" rIns="92638" bIns="46319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6"/>
            <a:ext cx="2945659" cy="496332"/>
          </a:xfrm>
          <a:prstGeom prst="rect">
            <a:avLst/>
          </a:prstGeom>
        </p:spPr>
        <p:txBody>
          <a:bodyPr vert="horz" lIns="92638" tIns="46319" rIns="92638" bIns="46319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2638" tIns="46319" rIns="92638" bIns="46319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2638" tIns="46319" rIns="92638" bIns="46319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732C4D34-2C19-43C3-91CC-9F2B4AC12977}" type="datetimeFigureOut">
              <a:rPr lang="en-US" smtClean="0"/>
              <a:pPr/>
              <a:t>2/2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38" tIns="46319" rIns="92638" bIns="4631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8"/>
          </a:xfrm>
          <a:prstGeom prst="rect">
            <a:avLst/>
          </a:prstGeom>
        </p:spPr>
        <p:txBody>
          <a:bodyPr vert="horz" lIns="92638" tIns="46319" rIns="92638" bIns="4631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6"/>
            <a:ext cx="2945659" cy="496332"/>
          </a:xfrm>
          <a:prstGeom prst="rect">
            <a:avLst/>
          </a:prstGeom>
        </p:spPr>
        <p:txBody>
          <a:bodyPr vert="horz" lIns="92638" tIns="46319" rIns="92638" bIns="46319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158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3349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186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5216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0876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591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ax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6D1B81-213B-4C65-968C-7E7DF2E5C3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47979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26D1B81-213B-4C65-968C-7E7DF2E5C3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9950A6E-B480-4AC3-8990-3EEEA80345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3679900"/>
            <a:ext cx="9906000" cy="0"/>
          </a:xfrm>
          <a:prstGeom prst="line">
            <a:avLst/>
          </a:prstGeom>
          <a:ln w="28575">
            <a:solidFill>
              <a:srgbClr val="354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06886" y="3993381"/>
            <a:ext cx="9336294" cy="65482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roduct Benchmarking - Analytics</a:t>
            </a:r>
            <a:endParaRPr lang="nl-NL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886" y="4821763"/>
            <a:ext cx="7236915" cy="332399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06884" y="5643568"/>
            <a:ext cx="7236917" cy="2215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31F6DE-5D2F-4E11-8F69-DE8645E7BF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176" y="19308"/>
            <a:ext cx="9902824" cy="366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56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ax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0" y="3997948"/>
            <a:ext cx="9906000" cy="0"/>
          </a:xfrm>
          <a:prstGeom prst="line">
            <a:avLst/>
          </a:prstGeom>
          <a:ln w="28575">
            <a:solidFill>
              <a:srgbClr val="354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06886" y="4337937"/>
            <a:ext cx="9336294" cy="65482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of the presentation</a:t>
            </a:r>
            <a:endParaRPr lang="nl-NL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886" y="5166319"/>
            <a:ext cx="7236915" cy="332399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06884" y="5988124"/>
            <a:ext cx="7236917" cy="2215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0545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ax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5202" y="1627634"/>
            <a:ext cx="9366811" cy="27699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5201" y="2157987"/>
            <a:ext cx="9366880" cy="225062"/>
          </a:xfrm>
          <a:ln>
            <a:noFill/>
          </a:ln>
        </p:spPr>
        <p:txBody>
          <a:bodyPr/>
          <a:lstStyle>
            <a:lvl1pPr marL="281186" indent="-281186">
              <a:buClr>
                <a:schemeClr val="accent1"/>
              </a:buClr>
              <a:buFont typeface="Arial" panose="020B0604020202020204" pitchFamily="34" charset="0"/>
              <a:buChar char="■"/>
              <a:defRPr sz="1625" baseline="0"/>
            </a:lvl1pPr>
            <a:lvl2pPr marL="282321" indent="-148590">
              <a:spcBef>
                <a:spcPts val="488"/>
              </a:spcBef>
              <a:buFont typeface="Arial" pitchFamily="34" charset="0"/>
              <a:buChar char="–"/>
              <a:defRPr sz="1625"/>
            </a:lvl2pPr>
            <a:lvl3pPr marL="393764" indent="-111443">
              <a:spcBef>
                <a:spcPts val="163"/>
              </a:spcBef>
              <a:buFont typeface="Arial" pitchFamily="34" charset="0"/>
              <a:buChar char="-"/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</p:spTree>
    <p:extLst>
      <p:ext uri="{BB962C8B-B14F-4D97-AF65-F5344CB8AC3E}">
        <p14:creationId xmlns:p14="http://schemas.microsoft.com/office/powerpoint/2010/main" val="2266665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31394123"/>
              </p:ext>
            </p:extLst>
          </p:nvPr>
        </p:nvGraphicFramePr>
        <p:xfrm>
          <a:off x="1723" y="1595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23" y="1595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02A673A-0DBF-4258-993E-9CECC6609B53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4884" y="1426677"/>
            <a:ext cx="936117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Text on first level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62051" y="6578321"/>
            <a:ext cx="287274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122664" y="204992"/>
            <a:ext cx="9634654" cy="0"/>
          </a:xfrm>
          <a:prstGeom prst="line">
            <a:avLst/>
          </a:prstGeom>
          <a:noFill/>
          <a:ln w="22225" cap="flat" cmpd="sng" algn="ctr">
            <a:solidFill>
              <a:srgbClr val="35477A"/>
            </a:solidFill>
            <a:prstDash val="solid"/>
          </a:ln>
          <a:effectLst>
            <a:outerShdw blurRad="50800" dist="12700" dir="5280000" rotWithShape="0">
              <a:srgbClr val="000000">
                <a:alpha val="40000"/>
              </a:srgbClr>
            </a:outerShdw>
          </a:effectLst>
        </p:spPr>
      </p:cxnSp>
      <p:sp>
        <p:nvSpPr>
          <p:cNvPr id="12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27955" y="237074"/>
            <a:ext cx="94500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l" defTabSz="88346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6293" algn="l"/>
              </a:tabLst>
            </a:pPr>
            <a:r>
              <a:rPr lang="en-US" noProof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7A70AC-329E-4AE7-8082-A4A5325570E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9695" y="6240548"/>
            <a:ext cx="636304" cy="63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640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5" r:id="rId3"/>
  </p:sldLayoutIdLst>
  <p:hf sldNum="0" hdr="0" ftr="0"/>
  <p:txStyles>
    <p:titleStyle>
      <a:lvl1pPr marL="0" indent="0" algn="l" defTabSz="914423" rtl="0" eaLnBrk="1" latinLnBrk="0" hangingPunct="1">
        <a:lnSpc>
          <a:spcPct val="90000"/>
        </a:lnSpc>
        <a:spcBef>
          <a:spcPct val="0"/>
        </a:spcBef>
        <a:buNone/>
        <a:defRPr sz="20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5" indent="-180005" algn="l" defTabSz="914423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904" indent="-128019" algn="l" defTabSz="914423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13" indent="-180005" algn="l" defTabSz="914423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16" indent="-137164" algn="l" defTabSz="914423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19" indent="-136803" algn="l" defTabSz="914423" rtl="0" eaLnBrk="1" latinLnBrk="0" hangingPunct="1">
        <a:lnSpc>
          <a:spcPct val="90000"/>
        </a:lnSpc>
        <a:spcBef>
          <a:spcPts val="100"/>
        </a:spcBef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63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4.xml"/><Relationship Id="rId7" Type="http://schemas.openxmlformats.org/officeDocument/2006/relationships/image" Target="../media/image5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6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29979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29979" y="644229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5924AB0-023F-4291-8D2E-FAC6C8DC7D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47675"/>
            <a:ext cx="9906000" cy="550935"/>
          </a:xfrm>
          <a:solidFill>
            <a:schemeClr val="accent1">
              <a:lumMod val="50000"/>
            </a:schemeClr>
          </a:solidFill>
        </p:spPr>
        <p:txBody>
          <a:bodyPr anchor="ctr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 O2O (Offline to Online) Mode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9490C43-B1C2-4E25-904A-C1DEADDD7258}"/>
              </a:ext>
            </a:extLst>
          </p:cNvPr>
          <p:cNvSpPr txBox="1"/>
          <p:nvPr/>
        </p:nvSpPr>
        <p:spPr>
          <a:xfrm>
            <a:off x="315849" y="1303401"/>
            <a:ext cx="92743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O2O model aims to predict </a:t>
            </a:r>
            <a:r>
              <a:rPr lang="en-GB" sz="1600" b="1" dirty="0"/>
              <a:t>the likelihood </a:t>
            </a:r>
            <a:r>
              <a:rPr lang="en-GB" sz="1600" dirty="0"/>
              <a:t>of an offline customer to shop online, and hence to classify customers based on their </a:t>
            </a:r>
            <a:r>
              <a:rPr lang="en-GB" sz="1600" b="1" dirty="0"/>
              <a:t>propensity scores- </a:t>
            </a:r>
            <a:r>
              <a:rPr lang="en-GB" sz="1600" dirty="0"/>
              <a:t>thereby optimising the return on investment for SMS campaigns.</a:t>
            </a:r>
            <a:endParaRPr lang="en-GB" sz="1600" b="1" dirty="0"/>
          </a:p>
          <a:p>
            <a:endParaRPr lang="en-GB" sz="1600" dirty="0"/>
          </a:p>
          <a:p>
            <a:endParaRPr lang="en-GB" sz="1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E44B38-EB23-47F1-B231-76542781E30A}"/>
              </a:ext>
            </a:extLst>
          </p:cNvPr>
          <p:cNvSpPr/>
          <p:nvPr/>
        </p:nvSpPr>
        <p:spPr>
          <a:xfrm>
            <a:off x="38509" y="6550221"/>
            <a:ext cx="2227614" cy="307779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Objective &amp; Overvie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4C616B-939B-41AA-9E05-48A1714CEF51}"/>
              </a:ext>
            </a:extLst>
          </p:cNvPr>
          <p:cNvSpPr/>
          <p:nvPr/>
        </p:nvSpPr>
        <p:spPr>
          <a:xfrm>
            <a:off x="5418128" y="6546299"/>
            <a:ext cx="252986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Model Evaluation &amp; Resul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877E04-61B3-4FD9-9758-43CB2A4FCDEA}"/>
              </a:ext>
            </a:extLst>
          </p:cNvPr>
          <p:cNvSpPr/>
          <p:nvPr/>
        </p:nvSpPr>
        <p:spPr>
          <a:xfrm>
            <a:off x="7947988" y="6544676"/>
            <a:ext cx="13773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Future Scope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CF19FE-7501-4510-9A17-BF8A15D4B4CC}"/>
              </a:ext>
            </a:extLst>
          </p:cNvPr>
          <p:cNvSpPr/>
          <p:nvPr/>
        </p:nvSpPr>
        <p:spPr>
          <a:xfrm>
            <a:off x="2266123" y="6550223"/>
            <a:ext cx="1444486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Data Sourc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0D33C7-9F70-47F6-A66C-131F4ED5E899}"/>
              </a:ext>
            </a:extLst>
          </p:cNvPr>
          <p:cNvSpPr/>
          <p:nvPr/>
        </p:nvSpPr>
        <p:spPr>
          <a:xfrm>
            <a:off x="3710609" y="6547922"/>
            <a:ext cx="1707519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Model Framework</a:t>
            </a:r>
          </a:p>
        </p:txBody>
      </p:sp>
    </p:spTree>
    <p:extLst>
      <p:ext uri="{BB962C8B-B14F-4D97-AF65-F5344CB8AC3E}">
        <p14:creationId xmlns:p14="http://schemas.microsoft.com/office/powerpoint/2010/main" val="3635888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29979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29979" y="644229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5924AB0-023F-4291-8D2E-FAC6C8DC7D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47675"/>
            <a:ext cx="9906000" cy="550935"/>
          </a:xfrm>
          <a:solidFill>
            <a:schemeClr val="accent1">
              <a:lumMod val="50000"/>
            </a:schemeClr>
          </a:solidFill>
        </p:spPr>
        <p:txBody>
          <a:bodyPr anchor="ctr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Model Framewo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E44B38-EB23-47F1-B231-76542781E30A}"/>
              </a:ext>
            </a:extLst>
          </p:cNvPr>
          <p:cNvSpPr/>
          <p:nvPr/>
        </p:nvSpPr>
        <p:spPr>
          <a:xfrm>
            <a:off x="38509" y="6550221"/>
            <a:ext cx="2227614" cy="30777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Objective &amp; Overvie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4C616B-939B-41AA-9E05-48A1714CEF51}"/>
              </a:ext>
            </a:extLst>
          </p:cNvPr>
          <p:cNvSpPr/>
          <p:nvPr/>
        </p:nvSpPr>
        <p:spPr>
          <a:xfrm>
            <a:off x="5418128" y="6546299"/>
            <a:ext cx="252986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Model Evaluation &amp; Result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877E04-61B3-4FD9-9758-43CB2A4FCDEA}"/>
              </a:ext>
            </a:extLst>
          </p:cNvPr>
          <p:cNvSpPr/>
          <p:nvPr/>
        </p:nvSpPr>
        <p:spPr>
          <a:xfrm>
            <a:off x="7947988" y="6544676"/>
            <a:ext cx="13773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Future Scope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CF19FE-7501-4510-9A17-BF8A15D4B4CC}"/>
              </a:ext>
            </a:extLst>
          </p:cNvPr>
          <p:cNvSpPr/>
          <p:nvPr/>
        </p:nvSpPr>
        <p:spPr>
          <a:xfrm>
            <a:off x="2266123" y="6550223"/>
            <a:ext cx="1444486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Data Sourc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B0D33C7-9F70-47F6-A66C-131F4ED5E899}"/>
              </a:ext>
            </a:extLst>
          </p:cNvPr>
          <p:cNvSpPr/>
          <p:nvPr/>
        </p:nvSpPr>
        <p:spPr>
          <a:xfrm>
            <a:off x="3710609" y="6547922"/>
            <a:ext cx="1707519" cy="307777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non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Model Framewo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C3AB35A-4A39-4B85-BDC4-B3132E82DE6C}"/>
              </a:ext>
            </a:extLst>
          </p:cNvPr>
          <p:cNvSpPr/>
          <p:nvPr/>
        </p:nvSpPr>
        <p:spPr>
          <a:xfrm>
            <a:off x="4078002" y="2255692"/>
            <a:ext cx="1919288" cy="2674620"/>
          </a:xfrm>
          <a:prstGeom prst="rect">
            <a:avLst/>
          </a:prstGeom>
          <a:solidFill>
            <a:schemeClr val="accent1">
              <a:alpha val="5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u="sng" dirty="0"/>
              <a:t>CLASSIFICATION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/>
              <a:t>Logist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/>
              <a:t>XG Bo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/>
              <a:t>Random Fores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EFDBBB8-FE26-4375-8A78-BB2941C96D20}"/>
              </a:ext>
            </a:extLst>
          </p:cNvPr>
          <p:cNvSpPr/>
          <p:nvPr/>
        </p:nvSpPr>
        <p:spPr>
          <a:xfrm>
            <a:off x="1034890" y="1559507"/>
            <a:ext cx="1565910" cy="172444"/>
          </a:xfrm>
          <a:prstGeom prst="rect">
            <a:avLst/>
          </a:prstGeom>
          <a:solidFill>
            <a:schemeClr val="bg2">
              <a:lumMod val="60000"/>
              <a:lumOff val="40000"/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TRIPS_12M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F9E58F-BABD-480E-B83F-0A8EF62D8D5F}"/>
              </a:ext>
            </a:extLst>
          </p:cNvPr>
          <p:cNvSpPr/>
          <p:nvPr/>
        </p:nvSpPr>
        <p:spPr>
          <a:xfrm>
            <a:off x="1022193" y="1791721"/>
            <a:ext cx="1565910" cy="214255"/>
          </a:xfrm>
          <a:prstGeom prst="rect">
            <a:avLst/>
          </a:prstGeom>
          <a:solidFill>
            <a:schemeClr val="bg2">
              <a:lumMod val="60000"/>
              <a:lumOff val="40000"/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UNITS_12M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0D4D445-7FB7-4F3E-9C95-2B9D7F2CAEAF}"/>
              </a:ext>
            </a:extLst>
          </p:cNvPr>
          <p:cNvSpPr/>
          <p:nvPr/>
        </p:nvSpPr>
        <p:spPr>
          <a:xfrm>
            <a:off x="1049021" y="3016451"/>
            <a:ext cx="1565910" cy="20368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RFM_SGM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C1A52F-95AC-46A8-B9ED-6D9859D45697}"/>
              </a:ext>
            </a:extLst>
          </p:cNvPr>
          <p:cNvSpPr/>
          <p:nvPr/>
        </p:nvSpPr>
        <p:spPr>
          <a:xfrm>
            <a:off x="1026557" y="2055731"/>
            <a:ext cx="1565910" cy="193642"/>
          </a:xfrm>
          <a:prstGeom prst="rect">
            <a:avLst/>
          </a:prstGeom>
          <a:solidFill>
            <a:schemeClr val="bg2">
              <a:lumMod val="60000"/>
              <a:lumOff val="40000"/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REVENUE_AED_12M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4C1642C-11B3-4D5C-B26A-46AC335551E4}"/>
              </a:ext>
            </a:extLst>
          </p:cNvPr>
          <p:cNvSpPr/>
          <p:nvPr/>
        </p:nvSpPr>
        <p:spPr>
          <a:xfrm>
            <a:off x="1034890" y="2295575"/>
            <a:ext cx="1565910" cy="164390"/>
          </a:xfrm>
          <a:prstGeom prst="rect">
            <a:avLst/>
          </a:prstGeom>
          <a:solidFill>
            <a:schemeClr val="bg2">
              <a:lumMod val="60000"/>
              <a:lumOff val="40000"/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REVENUE_AED_SALE_12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2312A93-BDA2-4369-A7A5-8925CA3C9EC5}"/>
              </a:ext>
            </a:extLst>
          </p:cNvPr>
          <p:cNvSpPr/>
          <p:nvPr/>
        </p:nvSpPr>
        <p:spPr>
          <a:xfrm>
            <a:off x="1022193" y="2516235"/>
            <a:ext cx="1565910" cy="193642"/>
          </a:xfrm>
          <a:prstGeom prst="rect">
            <a:avLst/>
          </a:prstGeom>
          <a:solidFill>
            <a:schemeClr val="bg2">
              <a:lumMod val="60000"/>
              <a:lumOff val="40000"/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INVOICES_SALE_12M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807D31-EDE5-40D4-8C45-D914E4A9C1F0}"/>
              </a:ext>
            </a:extLst>
          </p:cNvPr>
          <p:cNvSpPr/>
          <p:nvPr/>
        </p:nvSpPr>
        <p:spPr>
          <a:xfrm>
            <a:off x="1051873" y="3290476"/>
            <a:ext cx="1565910" cy="19364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tx1"/>
                </a:solidFill>
              </a:rPr>
              <a:t>PROMO_SGM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669B18-94C3-4FCF-8EA0-1D860494970B}"/>
              </a:ext>
            </a:extLst>
          </p:cNvPr>
          <p:cNvSpPr/>
          <p:nvPr/>
        </p:nvSpPr>
        <p:spPr>
          <a:xfrm>
            <a:off x="1075671" y="3537559"/>
            <a:ext cx="1565910" cy="19167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INCOME RANG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7A78F16-137F-4C57-847D-5D4CF7FC2B61}"/>
              </a:ext>
            </a:extLst>
          </p:cNvPr>
          <p:cNvSpPr/>
          <p:nvPr/>
        </p:nvSpPr>
        <p:spPr>
          <a:xfrm>
            <a:off x="1051560" y="4413420"/>
            <a:ext cx="1565910" cy="203688"/>
          </a:xfrm>
          <a:prstGeom prst="rect">
            <a:avLst/>
          </a:prstGeom>
          <a:solidFill>
            <a:schemeClr val="accent1"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RECENCY_CNCPT_1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9770CF8-FD64-484C-B777-E7A39881EEB6}"/>
              </a:ext>
            </a:extLst>
          </p:cNvPr>
          <p:cNvSpPr/>
          <p:nvPr/>
        </p:nvSpPr>
        <p:spPr>
          <a:xfrm>
            <a:off x="1051560" y="5548828"/>
            <a:ext cx="1565910" cy="262890"/>
          </a:xfrm>
          <a:prstGeom prst="rect">
            <a:avLst/>
          </a:prstGeom>
          <a:solidFill>
            <a:schemeClr val="accent1"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O2O FLAG</a:t>
            </a:r>
          </a:p>
        </p:txBody>
      </p:sp>
      <p:sp>
        <p:nvSpPr>
          <p:cNvPr id="24" name="Rectangle: Single Corner Rounded 23">
            <a:extLst>
              <a:ext uri="{FF2B5EF4-FFF2-40B4-BE49-F238E27FC236}">
                <a16:creationId xmlns:a16="http://schemas.microsoft.com/office/drawing/2014/main" id="{9B1CC797-7E3B-41B1-A5DD-461B691E2570}"/>
              </a:ext>
            </a:extLst>
          </p:cNvPr>
          <p:cNvSpPr/>
          <p:nvPr/>
        </p:nvSpPr>
        <p:spPr>
          <a:xfrm>
            <a:off x="811529" y="1559507"/>
            <a:ext cx="167958" cy="3853592"/>
          </a:xfrm>
          <a:prstGeom prst="round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1463" dirty="0"/>
              <a:t>Independent Variab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E644D70-CC8C-425D-803E-921F4A0662D4}"/>
              </a:ext>
            </a:extLst>
          </p:cNvPr>
          <p:cNvSpPr/>
          <p:nvPr/>
        </p:nvSpPr>
        <p:spPr>
          <a:xfrm>
            <a:off x="19883" y="5548827"/>
            <a:ext cx="959605" cy="26289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94" dirty="0"/>
              <a:t>DEPENDENT VARIAB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8C15ED4-0D63-4ED7-9F9A-2E6DC2BFE4B2}"/>
              </a:ext>
            </a:extLst>
          </p:cNvPr>
          <p:cNvSpPr/>
          <p:nvPr/>
        </p:nvSpPr>
        <p:spPr>
          <a:xfrm>
            <a:off x="1090968" y="3768615"/>
            <a:ext cx="1565910" cy="203687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GEND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9A0A6F0-BCD0-432C-ABD7-FD3F81AA3F66}"/>
              </a:ext>
            </a:extLst>
          </p:cNvPr>
          <p:cNvSpPr/>
          <p:nvPr/>
        </p:nvSpPr>
        <p:spPr>
          <a:xfrm>
            <a:off x="1049021" y="4686536"/>
            <a:ext cx="1565910" cy="203687"/>
          </a:xfrm>
          <a:prstGeom prst="rect">
            <a:avLst/>
          </a:prstGeom>
          <a:solidFill>
            <a:schemeClr val="accent1"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ACTIVE_TIME_12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9F1FD3C-784C-4CA4-8557-F313CC1E1C35}"/>
              </a:ext>
            </a:extLst>
          </p:cNvPr>
          <p:cNvSpPr/>
          <p:nvPr/>
        </p:nvSpPr>
        <p:spPr>
          <a:xfrm>
            <a:off x="1051560" y="4959651"/>
            <a:ext cx="1565910" cy="203687"/>
          </a:xfrm>
          <a:prstGeom prst="rect">
            <a:avLst/>
          </a:prstGeom>
          <a:solidFill>
            <a:schemeClr val="accent1"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AVG_UNIT_PER_TRIP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221F471-8D66-4D0E-ABAF-25AE3012DE6A}"/>
              </a:ext>
            </a:extLst>
          </p:cNvPr>
          <p:cNvSpPr/>
          <p:nvPr/>
        </p:nvSpPr>
        <p:spPr>
          <a:xfrm>
            <a:off x="1051560" y="5209411"/>
            <a:ext cx="1565910" cy="203687"/>
          </a:xfrm>
          <a:prstGeom prst="rect">
            <a:avLst/>
          </a:prstGeom>
          <a:solidFill>
            <a:schemeClr val="accent1"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</a:rPr>
              <a:t>VINTAGE_CNCPT_12</a:t>
            </a:r>
          </a:p>
        </p:txBody>
      </p:sp>
      <p:sp>
        <p:nvSpPr>
          <p:cNvPr id="30" name="Right Brace 29">
            <a:extLst>
              <a:ext uri="{FF2B5EF4-FFF2-40B4-BE49-F238E27FC236}">
                <a16:creationId xmlns:a16="http://schemas.microsoft.com/office/drawing/2014/main" id="{E674FC31-714A-4368-87BD-ED9EE5F55904}"/>
              </a:ext>
            </a:extLst>
          </p:cNvPr>
          <p:cNvSpPr/>
          <p:nvPr/>
        </p:nvSpPr>
        <p:spPr>
          <a:xfrm>
            <a:off x="2729264" y="1540456"/>
            <a:ext cx="1236945" cy="42522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0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7B17FB8-D1FF-434A-A885-F675535A4D8B}"/>
              </a:ext>
            </a:extLst>
          </p:cNvPr>
          <p:cNvSpPr/>
          <p:nvPr/>
        </p:nvSpPr>
        <p:spPr>
          <a:xfrm>
            <a:off x="7070728" y="3133839"/>
            <a:ext cx="1565910" cy="690601"/>
          </a:xfrm>
          <a:prstGeom prst="rect">
            <a:avLst/>
          </a:prstGeom>
          <a:solidFill>
            <a:schemeClr val="accent1">
              <a:alpha val="2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Propensity Scores</a:t>
            </a:r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B25E03FB-8B2C-42C7-BD4E-915EA8199BF2}"/>
              </a:ext>
            </a:extLst>
          </p:cNvPr>
          <p:cNvSpPr/>
          <p:nvPr/>
        </p:nvSpPr>
        <p:spPr>
          <a:xfrm>
            <a:off x="6326826" y="3445393"/>
            <a:ext cx="531598" cy="2750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963AE669-34E8-498E-87F6-DCCF5FDE6797}"/>
              </a:ext>
            </a:extLst>
          </p:cNvPr>
          <p:cNvSpPr/>
          <p:nvPr/>
        </p:nvSpPr>
        <p:spPr>
          <a:xfrm>
            <a:off x="3490508" y="3510372"/>
            <a:ext cx="531598" cy="2750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E1DD204-F443-40D6-AC59-FEB703730E5F}"/>
              </a:ext>
            </a:extLst>
          </p:cNvPr>
          <p:cNvSpPr/>
          <p:nvPr/>
        </p:nvSpPr>
        <p:spPr>
          <a:xfrm>
            <a:off x="39384" y="6550221"/>
            <a:ext cx="2227614" cy="30777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Objective &amp; Overview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03005E7-03FE-4A7E-8DAF-83220CD2E55E}"/>
              </a:ext>
            </a:extLst>
          </p:cNvPr>
          <p:cNvSpPr/>
          <p:nvPr/>
        </p:nvSpPr>
        <p:spPr>
          <a:xfrm>
            <a:off x="2266998" y="6550223"/>
            <a:ext cx="1444486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Data Sourc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9795B91-BAA6-49F2-9C9B-92C4FBEE8F57}"/>
              </a:ext>
            </a:extLst>
          </p:cNvPr>
          <p:cNvSpPr/>
          <p:nvPr/>
        </p:nvSpPr>
        <p:spPr>
          <a:xfrm>
            <a:off x="198783" y="6122504"/>
            <a:ext cx="198782" cy="1590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I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EF6E142-0696-4075-8D54-19D2E2B2D255}"/>
              </a:ext>
            </a:extLst>
          </p:cNvPr>
          <p:cNvSpPr/>
          <p:nvPr/>
        </p:nvSpPr>
        <p:spPr>
          <a:xfrm>
            <a:off x="2401616" y="6122504"/>
            <a:ext cx="198782" cy="159026"/>
          </a:xfrm>
          <a:prstGeom prst="rect">
            <a:avLst/>
          </a:prstGeom>
          <a:solidFill>
            <a:srgbClr val="92D050"/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I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EC47C29-0701-4CB8-8FEB-579074C8E92E}"/>
              </a:ext>
            </a:extLst>
          </p:cNvPr>
          <p:cNvSpPr txBox="1"/>
          <p:nvPr/>
        </p:nvSpPr>
        <p:spPr>
          <a:xfrm>
            <a:off x="432499" y="6135417"/>
            <a:ext cx="1833624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dirty="0">
                <a:latin typeface="Arial "/>
              </a:rPr>
              <a:t>Transactional Variables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2C48C99-6717-4003-81CA-25B5DA26D1D7}"/>
              </a:ext>
            </a:extLst>
          </p:cNvPr>
          <p:cNvSpPr txBox="1"/>
          <p:nvPr/>
        </p:nvSpPr>
        <p:spPr>
          <a:xfrm>
            <a:off x="2682304" y="6126571"/>
            <a:ext cx="2264411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dirty="0">
                <a:latin typeface="Arial "/>
              </a:rPr>
              <a:t>Non- Transactional Variables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50385AA-56E2-4898-BD49-0819EE49D9E6}"/>
              </a:ext>
            </a:extLst>
          </p:cNvPr>
          <p:cNvSpPr/>
          <p:nvPr/>
        </p:nvSpPr>
        <p:spPr>
          <a:xfrm>
            <a:off x="5037646" y="6122504"/>
            <a:ext cx="198782" cy="1590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IN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3868E81-3AD3-4DA9-820D-077B6D020B07}"/>
              </a:ext>
            </a:extLst>
          </p:cNvPr>
          <p:cNvSpPr txBox="1"/>
          <p:nvPr/>
        </p:nvSpPr>
        <p:spPr>
          <a:xfrm>
            <a:off x="5409265" y="6119534"/>
            <a:ext cx="2264411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n-IN" sz="1400" dirty="0">
                <a:latin typeface="Arial "/>
              </a:rPr>
              <a:t>Engineered Features</a:t>
            </a:r>
          </a:p>
        </p:txBody>
      </p:sp>
    </p:spTree>
    <p:extLst>
      <p:ext uri="{BB962C8B-B14F-4D97-AF65-F5344CB8AC3E}">
        <p14:creationId xmlns:p14="http://schemas.microsoft.com/office/powerpoint/2010/main" val="431190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DE3C893-D195-42FC-8204-0B09F516C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47675"/>
            <a:ext cx="9906000" cy="550935"/>
          </a:xfrm>
          <a:solidFill>
            <a:schemeClr val="accent1">
              <a:lumMod val="50000"/>
            </a:schemeClr>
          </a:solidFill>
        </p:spPr>
        <p:txBody>
          <a:bodyPr anchor="ctr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Model Evaluation &amp; Results: For December Conversions (Old Results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DEFEE20-A0C4-4DCB-AB78-26A069714E95}"/>
              </a:ext>
            </a:extLst>
          </p:cNvPr>
          <p:cNvGrpSpPr/>
          <p:nvPr/>
        </p:nvGrpSpPr>
        <p:grpSpPr>
          <a:xfrm>
            <a:off x="38509" y="6544676"/>
            <a:ext cx="7909479" cy="307779"/>
            <a:chOff x="38509" y="6544676"/>
            <a:chExt cx="7909479" cy="30777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6C74D85-69E2-4FB1-99AB-83414EA88438}"/>
                </a:ext>
              </a:extLst>
            </p:cNvPr>
            <p:cNvSpPr/>
            <p:nvPr/>
          </p:nvSpPr>
          <p:spPr>
            <a:xfrm>
              <a:off x="38509" y="6544676"/>
              <a:ext cx="2227614" cy="30777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Objective &amp; Overview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B016EE0-2BCF-4DB8-B33D-B31705B80A11}"/>
                </a:ext>
              </a:extLst>
            </p:cNvPr>
            <p:cNvSpPr/>
            <p:nvPr/>
          </p:nvSpPr>
          <p:spPr>
            <a:xfrm>
              <a:off x="5418128" y="6544676"/>
              <a:ext cx="2529860" cy="307777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Evaluation &amp; Result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86B26B-113F-46AB-B1DC-1DB0C8C58E30}"/>
                </a:ext>
              </a:extLst>
            </p:cNvPr>
            <p:cNvSpPr/>
            <p:nvPr/>
          </p:nvSpPr>
          <p:spPr>
            <a:xfrm>
              <a:off x="2266123" y="6544676"/>
              <a:ext cx="1444486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Data Source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BCFAF73-D480-4DDA-9276-1946C97B20BC}"/>
                </a:ext>
              </a:extLst>
            </p:cNvPr>
            <p:cNvSpPr/>
            <p:nvPr/>
          </p:nvSpPr>
          <p:spPr>
            <a:xfrm>
              <a:off x="3710609" y="6544676"/>
              <a:ext cx="1707519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Framework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DE29E2F6-2B6F-455F-8D74-66CC9C409013}"/>
              </a:ext>
            </a:extLst>
          </p:cNvPr>
          <p:cNvSpPr/>
          <p:nvPr/>
        </p:nvSpPr>
        <p:spPr>
          <a:xfrm>
            <a:off x="371473" y="1060733"/>
            <a:ext cx="44379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O2O Model Validation Results for Dec’20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A8E58A-575B-49A5-A1E9-121D37B114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4395" y="1430065"/>
            <a:ext cx="6817209" cy="23063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57C09AD-E2C4-400F-BEAC-5CDD5E7BBA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612"/>
          <a:stretch/>
        </p:blipFill>
        <p:spPr>
          <a:xfrm>
            <a:off x="1800201" y="3810430"/>
            <a:ext cx="6018436" cy="269432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B72C24F-EF4C-483F-B469-B932B84596AC}"/>
              </a:ext>
            </a:extLst>
          </p:cNvPr>
          <p:cNvSpPr/>
          <p:nvPr/>
        </p:nvSpPr>
        <p:spPr>
          <a:xfrm>
            <a:off x="7947988" y="6544676"/>
            <a:ext cx="13773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1463"/>
              </a:spcBef>
            </a:pPr>
            <a:r>
              <a:rPr lang="en-US" sz="1400" b="1" dirty="0">
                <a:solidFill>
                  <a:schemeClr val="bg1"/>
                </a:solidFill>
              </a:rPr>
              <a:t>Future Scope </a:t>
            </a:r>
          </a:p>
        </p:txBody>
      </p:sp>
    </p:spTree>
    <p:extLst>
      <p:ext uri="{BB962C8B-B14F-4D97-AF65-F5344CB8AC3E}">
        <p14:creationId xmlns:p14="http://schemas.microsoft.com/office/powerpoint/2010/main" val="749174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29979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29979" y="644229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5924AB0-023F-4291-8D2E-FAC6C8DC7D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47675"/>
            <a:ext cx="9906000" cy="550935"/>
          </a:xfrm>
          <a:solidFill>
            <a:schemeClr val="accent1">
              <a:lumMod val="50000"/>
            </a:schemeClr>
          </a:solidFill>
        </p:spPr>
        <p:txBody>
          <a:bodyPr anchor="ctr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Model Evaluation &amp; Results: For December Conversion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A5065E-2B50-4A51-A488-40726E7805B7}"/>
              </a:ext>
            </a:extLst>
          </p:cNvPr>
          <p:cNvGrpSpPr/>
          <p:nvPr/>
        </p:nvGrpSpPr>
        <p:grpSpPr>
          <a:xfrm>
            <a:off x="38509" y="6544676"/>
            <a:ext cx="9286779" cy="307779"/>
            <a:chOff x="38509" y="6544676"/>
            <a:chExt cx="9286779" cy="30777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6E44B38-EB23-47F1-B231-76542781E30A}"/>
                </a:ext>
              </a:extLst>
            </p:cNvPr>
            <p:cNvSpPr/>
            <p:nvPr/>
          </p:nvSpPr>
          <p:spPr>
            <a:xfrm>
              <a:off x="38509" y="6544676"/>
              <a:ext cx="2227614" cy="30777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Objective &amp; Overview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4C616B-939B-41AA-9E05-48A1714CEF51}"/>
                </a:ext>
              </a:extLst>
            </p:cNvPr>
            <p:cNvSpPr/>
            <p:nvPr/>
          </p:nvSpPr>
          <p:spPr>
            <a:xfrm>
              <a:off x="5418128" y="6544676"/>
              <a:ext cx="2529860" cy="307777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Evaluation &amp; Resul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877E04-61B3-4FD9-9758-43CB2A4FCDEA}"/>
                </a:ext>
              </a:extLst>
            </p:cNvPr>
            <p:cNvSpPr/>
            <p:nvPr/>
          </p:nvSpPr>
          <p:spPr>
            <a:xfrm>
              <a:off x="7947988" y="6544676"/>
              <a:ext cx="1377300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non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Future Scope 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4CF19FE-7501-4510-9A17-BF8A15D4B4CC}"/>
                </a:ext>
              </a:extLst>
            </p:cNvPr>
            <p:cNvSpPr/>
            <p:nvPr/>
          </p:nvSpPr>
          <p:spPr>
            <a:xfrm>
              <a:off x="2266123" y="6544676"/>
              <a:ext cx="1444486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Data Sourc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B0D33C7-9F70-47F6-A66C-131F4ED5E899}"/>
                </a:ext>
              </a:extLst>
            </p:cNvPr>
            <p:cNvSpPr/>
            <p:nvPr/>
          </p:nvSpPr>
          <p:spPr>
            <a:xfrm>
              <a:off x="3710609" y="6544676"/>
              <a:ext cx="1707519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Framework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D54C8968-0626-45DF-88CA-E82157641773}"/>
              </a:ext>
            </a:extLst>
          </p:cNvPr>
          <p:cNvSpPr/>
          <p:nvPr/>
        </p:nvSpPr>
        <p:spPr>
          <a:xfrm>
            <a:off x="38508" y="1147224"/>
            <a:ext cx="7705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O2O Model accuracy for DEC’20 with 6 Months Base (01 Jun’20 to 30 Nov’20)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FED541C-3543-4174-8F6B-03751F42229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2298" y="1494638"/>
            <a:ext cx="8241403" cy="2711635"/>
          </a:xfrm>
          <a:prstGeom prst="rect">
            <a:avLst/>
          </a:prstGeom>
        </p:spPr>
      </p:pic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9574D980-ABF3-473C-BD43-DA0781BBB6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058301"/>
              </p:ext>
            </p:extLst>
          </p:nvPr>
        </p:nvGraphicFramePr>
        <p:xfrm>
          <a:off x="1273928" y="4337998"/>
          <a:ext cx="7362710" cy="20749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9214">
                  <a:extLst>
                    <a:ext uri="{9D8B030D-6E8A-4147-A177-3AD203B41FA5}">
                      <a16:colId xmlns:a16="http://schemas.microsoft.com/office/drawing/2014/main" val="534837869"/>
                    </a:ext>
                  </a:extLst>
                </a:gridCol>
                <a:gridCol w="609714">
                  <a:extLst>
                    <a:ext uri="{9D8B030D-6E8A-4147-A177-3AD203B41FA5}">
                      <a16:colId xmlns:a16="http://schemas.microsoft.com/office/drawing/2014/main" val="2915530657"/>
                    </a:ext>
                  </a:extLst>
                </a:gridCol>
                <a:gridCol w="636702">
                  <a:extLst>
                    <a:ext uri="{9D8B030D-6E8A-4147-A177-3AD203B41FA5}">
                      <a16:colId xmlns:a16="http://schemas.microsoft.com/office/drawing/2014/main" val="3717141410"/>
                    </a:ext>
                  </a:extLst>
                </a:gridCol>
                <a:gridCol w="466839">
                  <a:extLst>
                    <a:ext uri="{9D8B030D-6E8A-4147-A177-3AD203B41FA5}">
                      <a16:colId xmlns:a16="http://schemas.microsoft.com/office/drawing/2014/main" val="1633114338"/>
                    </a:ext>
                  </a:extLst>
                </a:gridCol>
                <a:gridCol w="735127">
                  <a:extLst>
                    <a:ext uri="{9D8B030D-6E8A-4147-A177-3AD203B41FA5}">
                      <a16:colId xmlns:a16="http://schemas.microsoft.com/office/drawing/2014/main" val="694072689"/>
                    </a:ext>
                  </a:extLst>
                </a:gridCol>
                <a:gridCol w="663689">
                  <a:extLst>
                    <a:ext uri="{9D8B030D-6E8A-4147-A177-3AD203B41FA5}">
                      <a16:colId xmlns:a16="http://schemas.microsoft.com/office/drawing/2014/main" val="2672583014"/>
                    </a:ext>
                  </a:extLst>
                </a:gridCol>
                <a:gridCol w="931977">
                  <a:extLst>
                    <a:ext uri="{9D8B030D-6E8A-4147-A177-3AD203B41FA5}">
                      <a16:colId xmlns:a16="http://schemas.microsoft.com/office/drawing/2014/main" val="2590133253"/>
                    </a:ext>
                  </a:extLst>
                </a:gridCol>
                <a:gridCol w="958964">
                  <a:extLst>
                    <a:ext uri="{9D8B030D-6E8A-4147-A177-3AD203B41FA5}">
                      <a16:colId xmlns:a16="http://schemas.microsoft.com/office/drawing/2014/main" val="1724285297"/>
                    </a:ext>
                  </a:extLst>
                </a:gridCol>
                <a:gridCol w="1227252">
                  <a:extLst>
                    <a:ext uri="{9D8B030D-6E8A-4147-A177-3AD203B41FA5}">
                      <a16:colId xmlns:a16="http://schemas.microsoft.com/office/drawing/2014/main" val="2467768765"/>
                    </a:ext>
                  </a:extLst>
                </a:gridCol>
                <a:gridCol w="713232">
                  <a:extLst>
                    <a:ext uri="{9D8B030D-6E8A-4147-A177-3AD203B41FA5}">
                      <a16:colId xmlns:a16="http://schemas.microsoft.com/office/drawing/2014/main" val="938608761"/>
                    </a:ext>
                  </a:extLst>
                </a:gridCol>
              </a:tblGrid>
              <a:tr h="208440">
                <a:tc>
                  <a:txBody>
                    <a:bodyPr/>
                    <a:lstStyle/>
                    <a:p>
                      <a:pPr algn="r" fontAlgn="ctr"/>
                      <a:endParaRPr lang="en-US" sz="1000" b="1" dirty="0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min prob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max prob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events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non events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non 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cum 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cum non 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KS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1257062819"/>
                  </a:ext>
                </a:extLst>
              </a:tr>
              <a:tr h="9703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Decil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1585552904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dirty="0">
                          <a:effectLst/>
                        </a:rPr>
                        <a:t>0.00746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2510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0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40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5.1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.9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5.1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.9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5.2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035307260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2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644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746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8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62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3.9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.9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39.0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9.9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9.1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524567110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569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644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4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66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1.9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.99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0.99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9.9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1.1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1849788213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502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568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0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70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2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61.2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39.9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1.3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78290432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446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502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0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70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1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71.3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49.9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1.5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2299131243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403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446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6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73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8.4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79.7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9.9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9.8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630115718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67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403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3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77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6.76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86.5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69.9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6.6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37658951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43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67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2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77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6.4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2.9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79.9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3.0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417513435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20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43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7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832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3.7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6.7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89.9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6.7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885766175"/>
                  </a:ext>
                </a:extLst>
              </a:tr>
              <a:tr h="1698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1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dirty="0">
                          <a:effectLst/>
                        </a:rPr>
                        <a:t>0.00287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20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6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284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3.2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dirty="0">
                          <a:effectLst/>
                        </a:rPr>
                        <a:t>0.0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11807975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47589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29979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29979" y="644229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5924AB0-023F-4291-8D2E-FAC6C8DC7D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47675"/>
            <a:ext cx="9906000" cy="550935"/>
          </a:xfrm>
          <a:solidFill>
            <a:schemeClr val="accent1">
              <a:lumMod val="50000"/>
            </a:schemeClr>
          </a:solidFill>
        </p:spPr>
        <p:txBody>
          <a:bodyPr anchor="ctr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Model Evaluation &amp; Results: For December Conversion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A5065E-2B50-4A51-A488-40726E7805B7}"/>
              </a:ext>
            </a:extLst>
          </p:cNvPr>
          <p:cNvGrpSpPr/>
          <p:nvPr/>
        </p:nvGrpSpPr>
        <p:grpSpPr>
          <a:xfrm>
            <a:off x="38509" y="6544676"/>
            <a:ext cx="9286779" cy="307779"/>
            <a:chOff x="38509" y="6544676"/>
            <a:chExt cx="9286779" cy="30777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6E44B38-EB23-47F1-B231-76542781E30A}"/>
                </a:ext>
              </a:extLst>
            </p:cNvPr>
            <p:cNvSpPr/>
            <p:nvPr/>
          </p:nvSpPr>
          <p:spPr>
            <a:xfrm>
              <a:off x="38509" y="6544676"/>
              <a:ext cx="2227614" cy="30777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Objective &amp; Overview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4C616B-939B-41AA-9E05-48A1714CEF51}"/>
                </a:ext>
              </a:extLst>
            </p:cNvPr>
            <p:cNvSpPr/>
            <p:nvPr/>
          </p:nvSpPr>
          <p:spPr>
            <a:xfrm>
              <a:off x="5418128" y="6544676"/>
              <a:ext cx="2529860" cy="307777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Evaluation &amp; Resul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877E04-61B3-4FD9-9758-43CB2A4FCDEA}"/>
                </a:ext>
              </a:extLst>
            </p:cNvPr>
            <p:cNvSpPr/>
            <p:nvPr/>
          </p:nvSpPr>
          <p:spPr>
            <a:xfrm>
              <a:off x="7947988" y="6544676"/>
              <a:ext cx="1377300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non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Future Scope 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4CF19FE-7501-4510-9A17-BF8A15D4B4CC}"/>
                </a:ext>
              </a:extLst>
            </p:cNvPr>
            <p:cNvSpPr/>
            <p:nvPr/>
          </p:nvSpPr>
          <p:spPr>
            <a:xfrm>
              <a:off x="2266123" y="6544676"/>
              <a:ext cx="1444486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Data Sourc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B0D33C7-9F70-47F6-A66C-131F4ED5E899}"/>
                </a:ext>
              </a:extLst>
            </p:cNvPr>
            <p:cNvSpPr/>
            <p:nvPr/>
          </p:nvSpPr>
          <p:spPr>
            <a:xfrm>
              <a:off x="3710609" y="6544676"/>
              <a:ext cx="1707519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Framework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D54C8968-0626-45DF-88CA-E82157641773}"/>
              </a:ext>
            </a:extLst>
          </p:cNvPr>
          <p:cNvSpPr/>
          <p:nvPr/>
        </p:nvSpPr>
        <p:spPr>
          <a:xfrm>
            <a:off x="38508" y="1147224"/>
            <a:ext cx="7705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O2O Model accuracy for DEC’20 with 1 Year Base (01 Dec’19 to 30 Nov’20) 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212534C7-1C9C-465D-87C4-642CCC9B39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091059"/>
              </p:ext>
            </p:extLst>
          </p:nvPr>
        </p:nvGraphicFramePr>
        <p:xfrm>
          <a:off x="1242089" y="4330092"/>
          <a:ext cx="7421819" cy="20907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8264">
                  <a:extLst>
                    <a:ext uri="{9D8B030D-6E8A-4147-A177-3AD203B41FA5}">
                      <a16:colId xmlns:a16="http://schemas.microsoft.com/office/drawing/2014/main" val="523410224"/>
                    </a:ext>
                  </a:extLst>
                </a:gridCol>
                <a:gridCol w="609714">
                  <a:extLst>
                    <a:ext uri="{9D8B030D-6E8A-4147-A177-3AD203B41FA5}">
                      <a16:colId xmlns:a16="http://schemas.microsoft.com/office/drawing/2014/main" val="1335330251"/>
                    </a:ext>
                  </a:extLst>
                </a:gridCol>
                <a:gridCol w="636702">
                  <a:extLst>
                    <a:ext uri="{9D8B030D-6E8A-4147-A177-3AD203B41FA5}">
                      <a16:colId xmlns:a16="http://schemas.microsoft.com/office/drawing/2014/main" val="363939112"/>
                    </a:ext>
                  </a:extLst>
                </a:gridCol>
                <a:gridCol w="466839">
                  <a:extLst>
                    <a:ext uri="{9D8B030D-6E8A-4147-A177-3AD203B41FA5}">
                      <a16:colId xmlns:a16="http://schemas.microsoft.com/office/drawing/2014/main" val="446883048"/>
                    </a:ext>
                  </a:extLst>
                </a:gridCol>
                <a:gridCol w="735127">
                  <a:extLst>
                    <a:ext uri="{9D8B030D-6E8A-4147-A177-3AD203B41FA5}">
                      <a16:colId xmlns:a16="http://schemas.microsoft.com/office/drawing/2014/main" val="706520612"/>
                    </a:ext>
                  </a:extLst>
                </a:gridCol>
                <a:gridCol w="663689">
                  <a:extLst>
                    <a:ext uri="{9D8B030D-6E8A-4147-A177-3AD203B41FA5}">
                      <a16:colId xmlns:a16="http://schemas.microsoft.com/office/drawing/2014/main" val="1198482694"/>
                    </a:ext>
                  </a:extLst>
                </a:gridCol>
                <a:gridCol w="931977">
                  <a:extLst>
                    <a:ext uri="{9D8B030D-6E8A-4147-A177-3AD203B41FA5}">
                      <a16:colId xmlns:a16="http://schemas.microsoft.com/office/drawing/2014/main" val="3235782777"/>
                    </a:ext>
                  </a:extLst>
                </a:gridCol>
                <a:gridCol w="958964">
                  <a:extLst>
                    <a:ext uri="{9D8B030D-6E8A-4147-A177-3AD203B41FA5}">
                      <a16:colId xmlns:a16="http://schemas.microsoft.com/office/drawing/2014/main" val="428585590"/>
                    </a:ext>
                  </a:extLst>
                </a:gridCol>
                <a:gridCol w="1227252">
                  <a:extLst>
                    <a:ext uri="{9D8B030D-6E8A-4147-A177-3AD203B41FA5}">
                      <a16:colId xmlns:a16="http://schemas.microsoft.com/office/drawing/2014/main" val="2692192645"/>
                    </a:ext>
                  </a:extLst>
                </a:gridCol>
                <a:gridCol w="753291">
                  <a:extLst>
                    <a:ext uri="{9D8B030D-6E8A-4147-A177-3AD203B41FA5}">
                      <a16:colId xmlns:a16="http://schemas.microsoft.com/office/drawing/2014/main" val="3831244508"/>
                    </a:ext>
                  </a:extLst>
                </a:gridCol>
              </a:tblGrid>
              <a:tr h="239113">
                <a:tc>
                  <a:txBody>
                    <a:bodyPr/>
                    <a:lstStyle/>
                    <a:p>
                      <a:pPr algn="r" fontAlgn="ctr"/>
                      <a:endParaRPr lang="en-US" sz="1000" b="1" dirty="0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min prob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max prob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events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non events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non 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cum 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cum non 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KS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2788484519"/>
                  </a:ext>
                </a:extLst>
              </a:tr>
              <a:tr h="95646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Decil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00" b="1">
                        <a:effectLst/>
                      </a:endParaRP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756260611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675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2556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86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276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5.9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.9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5.9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.9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6.0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2491563284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2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536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675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47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315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4.2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.99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40.2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9.9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0.3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2860458373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449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536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43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319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3.0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.99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3.26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9.9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3.3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1777270394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406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449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362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326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86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64.1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39.9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4.2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132695892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79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406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31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330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.5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dirty="0">
                          <a:effectLst/>
                        </a:rPr>
                        <a:t>1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73.66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49.9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3.7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50625231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63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79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6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3362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7.9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81.6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59.9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1.7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1631176260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49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63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2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339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6.8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88.4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69.9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8.5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2858303336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34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49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5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346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4.7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3.2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79.96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3.3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827166423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18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34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3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349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4.1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97.3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89.9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7.4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1848293512"/>
                  </a:ext>
                </a:extLst>
              </a:tr>
              <a:tr h="167379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1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287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0.00318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dirty="0">
                          <a:effectLst/>
                        </a:rPr>
                        <a:t>8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353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2.6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.0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>
                          <a:effectLst/>
                        </a:rPr>
                        <a:t>10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dirty="0">
                          <a:effectLst/>
                        </a:rPr>
                        <a:t>0.0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176325326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A5E7484-E59E-4A85-B13A-ABEE70426A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8077" y="1487530"/>
            <a:ext cx="8089846" cy="279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160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29979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29979" y="644229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5924AB0-023F-4291-8D2E-FAC6C8DC7D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47675"/>
            <a:ext cx="9906000" cy="550935"/>
          </a:xfrm>
          <a:solidFill>
            <a:schemeClr val="accent1">
              <a:lumMod val="50000"/>
            </a:schemeClr>
          </a:solidFill>
        </p:spPr>
        <p:txBody>
          <a:bodyPr anchor="ctr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Model Evaluation &amp; Results: For January Conversion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A5065E-2B50-4A51-A488-40726E7805B7}"/>
              </a:ext>
            </a:extLst>
          </p:cNvPr>
          <p:cNvGrpSpPr/>
          <p:nvPr/>
        </p:nvGrpSpPr>
        <p:grpSpPr>
          <a:xfrm>
            <a:off x="38509" y="6544676"/>
            <a:ext cx="9286779" cy="307779"/>
            <a:chOff x="38509" y="6544676"/>
            <a:chExt cx="9286779" cy="30777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6E44B38-EB23-47F1-B231-76542781E30A}"/>
                </a:ext>
              </a:extLst>
            </p:cNvPr>
            <p:cNvSpPr/>
            <p:nvPr/>
          </p:nvSpPr>
          <p:spPr>
            <a:xfrm>
              <a:off x="38509" y="6544676"/>
              <a:ext cx="2227614" cy="30777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Objective &amp; Overview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4C616B-939B-41AA-9E05-48A1714CEF51}"/>
                </a:ext>
              </a:extLst>
            </p:cNvPr>
            <p:cNvSpPr/>
            <p:nvPr/>
          </p:nvSpPr>
          <p:spPr>
            <a:xfrm>
              <a:off x="5418128" y="6544676"/>
              <a:ext cx="2529860" cy="307777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Evaluation &amp; Resul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877E04-61B3-4FD9-9758-43CB2A4FCDEA}"/>
                </a:ext>
              </a:extLst>
            </p:cNvPr>
            <p:cNvSpPr/>
            <p:nvPr/>
          </p:nvSpPr>
          <p:spPr>
            <a:xfrm>
              <a:off x="7947988" y="6544676"/>
              <a:ext cx="1377300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non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Future Scope 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4CF19FE-7501-4510-9A17-BF8A15D4B4CC}"/>
                </a:ext>
              </a:extLst>
            </p:cNvPr>
            <p:cNvSpPr/>
            <p:nvPr/>
          </p:nvSpPr>
          <p:spPr>
            <a:xfrm>
              <a:off x="2266123" y="6544676"/>
              <a:ext cx="1444486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Data Sourc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B0D33C7-9F70-47F6-A66C-131F4ED5E899}"/>
                </a:ext>
              </a:extLst>
            </p:cNvPr>
            <p:cNvSpPr/>
            <p:nvPr/>
          </p:nvSpPr>
          <p:spPr>
            <a:xfrm>
              <a:off x="3710609" y="6544676"/>
              <a:ext cx="1707519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Framework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D54C8968-0626-45DF-88CA-E82157641773}"/>
              </a:ext>
            </a:extLst>
          </p:cNvPr>
          <p:cNvSpPr/>
          <p:nvPr/>
        </p:nvSpPr>
        <p:spPr>
          <a:xfrm>
            <a:off x="38508" y="1147224"/>
            <a:ext cx="7705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O2O Model accuracy for JAN’21 with 1 Year Base (01 Jan’20 to 31 Dec’20)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BBC7968-A88B-4698-AED3-810A827D74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21971"/>
              </p:ext>
            </p:extLst>
          </p:nvPr>
        </p:nvGraphicFramePr>
        <p:xfrm>
          <a:off x="1218097" y="4266580"/>
          <a:ext cx="7469803" cy="21935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2076">
                  <a:extLst>
                    <a:ext uri="{9D8B030D-6E8A-4147-A177-3AD203B41FA5}">
                      <a16:colId xmlns:a16="http://schemas.microsoft.com/office/drawing/2014/main" val="3011223067"/>
                    </a:ext>
                  </a:extLst>
                </a:gridCol>
                <a:gridCol w="627176">
                  <a:extLst>
                    <a:ext uri="{9D8B030D-6E8A-4147-A177-3AD203B41FA5}">
                      <a16:colId xmlns:a16="http://schemas.microsoft.com/office/drawing/2014/main" val="3432067116"/>
                    </a:ext>
                  </a:extLst>
                </a:gridCol>
                <a:gridCol w="636702">
                  <a:extLst>
                    <a:ext uri="{9D8B030D-6E8A-4147-A177-3AD203B41FA5}">
                      <a16:colId xmlns:a16="http://schemas.microsoft.com/office/drawing/2014/main" val="3919076089"/>
                    </a:ext>
                  </a:extLst>
                </a:gridCol>
                <a:gridCol w="466839">
                  <a:extLst>
                    <a:ext uri="{9D8B030D-6E8A-4147-A177-3AD203B41FA5}">
                      <a16:colId xmlns:a16="http://schemas.microsoft.com/office/drawing/2014/main" val="769377593"/>
                    </a:ext>
                  </a:extLst>
                </a:gridCol>
                <a:gridCol w="735127">
                  <a:extLst>
                    <a:ext uri="{9D8B030D-6E8A-4147-A177-3AD203B41FA5}">
                      <a16:colId xmlns:a16="http://schemas.microsoft.com/office/drawing/2014/main" val="3262527723"/>
                    </a:ext>
                  </a:extLst>
                </a:gridCol>
                <a:gridCol w="663689">
                  <a:extLst>
                    <a:ext uri="{9D8B030D-6E8A-4147-A177-3AD203B41FA5}">
                      <a16:colId xmlns:a16="http://schemas.microsoft.com/office/drawing/2014/main" val="43394063"/>
                    </a:ext>
                  </a:extLst>
                </a:gridCol>
                <a:gridCol w="931977">
                  <a:extLst>
                    <a:ext uri="{9D8B030D-6E8A-4147-A177-3AD203B41FA5}">
                      <a16:colId xmlns:a16="http://schemas.microsoft.com/office/drawing/2014/main" val="3068758041"/>
                    </a:ext>
                  </a:extLst>
                </a:gridCol>
                <a:gridCol w="958964">
                  <a:extLst>
                    <a:ext uri="{9D8B030D-6E8A-4147-A177-3AD203B41FA5}">
                      <a16:colId xmlns:a16="http://schemas.microsoft.com/office/drawing/2014/main" val="1655017530"/>
                    </a:ext>
                  </a:extLst>
                </a:gridCol>
                <a:gridCol w="1227252">
                  <a:extLst>
                    <a:ext uri="{9D8B030D-6E8A-4147-A177-3AD203B41FA5}">
                      <a16:colId xmlns:a16="http://schemas.microsoft.com/office/drawing/2014/main" val="2505806135"/>
                    </a:ext>
                  </a:extLst>
                </a:gridCol>
                <a:gridCol w="760001">
                  <a:extLst>
                    <a:ext uri="{9D8B030D-6E8A-4147-A177-3AD203B41FA5}">
                      <a16:colId xmlns:a16="http://schemas.microsoft.com/office/drawing/2014/main" val="3548359164"/>
                    </a:ext>
                  </a:extLst>
                </a:gridCol>
              </a:tblGrid>
              <a:tr h="252201">
                <a:tc>
                  <a:txBody>
                    <a:bodyPr/>
                    <a:lstStyle/>
                    <a:p>
                      <a:pPr algn="r" fontAlgn="ctr"/>
                      <a:endParaRPr lang="en-US" sz="1050" b="1" dirty="0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min prob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max prob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events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non events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non 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cum 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cum non event rat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1" dirty="0">
                          <a:effectLst/>
                        </a:rPr>
                        <a:t>KS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4242940673"/>
                  </a:ext>
                </a:extLst>
              </a:tr>
              <a:tr h="10088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Decile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5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5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5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5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5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5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5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50" b="1">
                        <a:effectLst/>
                      </a:endParaRP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en-US" sz="1050" b="1">
                        <a:effectLst/>
                      </a:endParaRP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2493300378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484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1926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8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733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6.4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.9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6.4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.9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6.5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949203366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2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401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484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56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775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5.1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.9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41.5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9.9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1.7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1923091313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343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401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44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787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1.7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.99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53.3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9.9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3.4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143066629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308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343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40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791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.7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64.0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39.9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4.2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950020044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83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3081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31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800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8.5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.0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72.56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49.9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2.6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398938107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6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68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83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9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802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7.7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.0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80.3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59.9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0.4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520793846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7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56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68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63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805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7.0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.01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87.3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69.9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7.4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4018694109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46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56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0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811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5.3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.0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2.6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79.95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2.7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1744920501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362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465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6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8154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4.38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.02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7.06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89.97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7.1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3180587180"/>
                  </a:ext>
                </a:extLst>
              </a:tr>
              <a:tr h="176541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1" dirty="0">
                          <a:effectLst/>
                        </a:rPr>
                        <a:t>1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129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0.002362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10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98208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2.94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.03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>
                          <a:effectLst/>
                        </a:rPr>
                        <a:t>100.00%</a:t>
                      </a:r>
                    </a:p>
                  </a:txBody>
                  <a:tcPr marL="15932" marR="15932" marT="7966" marB="7966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dirty="0">
                          <a:effectLst/>
                        </a:rPr>
                        <a:t>0.0</a:t>
                      </a:r>
                    </a:p>
                  </a:txBody>
                  <a:tcPr marL="15932" marR="15932" marT="7966" marB="7966" anchor="ctr"/>
                </a:tc>
                <a:extLst>
                  <a:ext uri="{0D108BD9-81ED-4DB2-BD59-A6C34878D82A}">
                    <a16:rowId xmlns:a16="http://schemas.microsoft.com/office/drawing/2014/main" val="2725850949"/>
                  </a:ext>
                </a:extLst>
              </a:tr>
            </a:tbl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A1AB90C8-A826-4366-8D0C-7C4F82F6D82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9966" y="1472025"/>
            <a:ext cx="8026064" cy="2808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3349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29979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29979" y="644229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5924AB0-023F-4291-8D2E-FAC6C8DC7D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47675"/>
            <a:ext cx="9906000" cy="550935"/>
          </a:xfrm>
          <a:solidFill>
            <a:schemeClr val="accent1">
              <a:lumMod val="50000"/>
            </a:schemeClr>
          </a:solidFill>
        </p:spPr>
        <p:txBody>
          <a:bodyPr anchor="ctr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 Future Scop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A5065E-2B50-4A51-A488-40726E7805B7}"/>
              </a:ext>
            </a:extLst>
          </p:cNvPr>
          <p:cNvGrpSpPr/>
          <p:nvPr/>
        </p:nvGrpSpPr>
        <p:grpSpPr>
          <a:xfrm>
            <a:off x="38509" y="6544676"/>
            <a:ext cx="9286779" cy="307779"/>
            <a:chOff x="38509" y="6544676"/>
            <a:chExt cx="9286779" cy="30777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6E44B38-EB23-47F1-B231-76542781E30A}"/>
                </a:ext>
              </a:extLst>
            </p:cNvPr>
            <p:cNvSpPr/>
            <p:nvPr/>
          </p:nvSpPr>
          <p:spPr>
            <a:xfrm>
              <a:off x="38509" y="6544676"/>
              <a:ext cx="2227614" cy="30777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Objective &amp; Overview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4C616B-939B-41AA-9E05-48A1714CEF51}"/>
                </a:ext>
              </a:extLst>
            </p:cNvPr>
            <p:cNvSpPr/>
            <p:nvPr/>
          </p:nvSpPr>
          <p:spPr>
            <a:xfrm>
              <a:off x="5418128" y="6544676"/>
              <a:ext cx="2529860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Evaluation &amp; Resul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877E04-61B3-4FD9-9758-43CB2A4FCDEA}"/>
                </a:ext>
              </a:extLst>
            </p:cNvPr>
            <p:cNvSpPr/>
            <p:nvPr/>
          </p:nvSpPr>
          <p:spPr>
            <a:xfrm>
              <a:off x="7947988" y="6544676"/>
              <a:ext cx="1377300" cy="307777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Future Scope 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4CF19FE-7501-4510-9A17-BF8A15D4B4CC}"/>
                </a:ext>
              </a:extLst>
            </p:cNvPr>
            <p:cNvSpPr/>
            <p:nvPr/>
          </p:nvSpPr>
          <p:spPr>
            <a:xfrm>
              <a:off x="2266123" y="6544676"/>
              <a:ext cx="1444486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Data Sourc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B0D33C7-9F70-47F6-A66C-131F4ED5E899}"/>
                </a:ext>
              </a:extLst>
            </p:cNvPr>
            <p:cNvSpPr/>
            <p:nvPr/>
          </p:nvSpPr>
          <p:spPr>
            <a:xfrm>
              <a:off x="3710609" y="6544676"/>
              <a:ext cx="1707519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spcBef>
                  <a:spcPts val="1463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Model Framework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251D6A6A-74B9-46E2-8A43-4C8BC3CB4ACC}"/>
              </a:ext>
            </a:extLst>
          </p:cNvPr>
          <p:cNvSpPr/>
          <p:nvPr/>
        </p:nvSpPr>
        <p:spPr>
          <a:xfrm>
            <a:off x="217093" y="1215112"/>
            <a:ext cx="45192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1. Can Introduce Campaign Cost  Analys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C8D205-B656-424F-8B06-4B8EFB8D041B}"/>
              </a:ext>
            </a:extLst>
          </p:cNvPr>
          <p:cNvSpPr/>
          <p:nvPr/>
        </p:nvSpPr>
        <p:spPr>
          <a:xfrm>
            <a:off x="217093" y="1584444"/>
            <a:ext cx="4953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>
                <a:solidFill>
                  <a:srgbClr val="666666"/>
                </a:solidFill>
                <a:latin typeface="Open Sans"/>
              </a:rPr>
              <a:t>Assume,</a:t>
            </a:r>
          </a:p>
          <a:p>
            <a:r>
              <a:rPr lang="en-US" sz="1400" dirty="0">
                <a:solidFill>
                  <a:srgbClr val="666666"/>
                </a:solidFill>
                <a:latin typeface="Open Sans"/>
              </a:rPr>
              <a:t>Average campaign cost per customer is Rs. 10/-</a:t>
            </a:r>
          </a:p>
          <a:p>
            <a:r>
              <a:rPr lang="en-US" sz="1400" dirty="0">
                <a:solidFill>
                  <a:srgbClr val="666666"/>
                </a:solidFill>
                <a:latin typeface="Open Sans"/>
              </a:rPr>
              <a:t>Revenue per conversion is Rs. 150/-</a:t>
            </a:r>
          </a:p>
          <a:p>
            <a:r>
              <a:rPr lang="en-US" sz="1400" dirty="0">
                <a:solidFill>
                  <a:srgbClr val="666666"/>
                </a:solidFill>
                <a:latin typeface="Open Sans"/>
              </a:rPr>
              <a:t>The campaign will be profitable only if our campaign conversion is above 6.7% (=10/150).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202482D-A5B0-43C1-A6E7-0032F47219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211582"/>
              </p:ext>
            </p:extLst>
          </p:nvPr>
        </p:nvGraphicFramePr>
        <p:xfrm>
          <a:off x="273870" y="2916872"/>
          <a:ext cx="4276055" cy="3257723"/>
        </p:xfrm>
        <a:graphic>
          <a:graphicData uri="http://schemas.openxmlformats.org/drawingml/2006/table">
            <a:tbl>
              <a:tblPr/>
              <a:tblGrid>
                <a:gridCol w="525159">
                  <a:extLst>
                    <a:ext uri="{9D8B030D-6E8A-4147-A177-3AD203B41FA5}">
                      <a16:colId xmlns:a16="http://schemas.microsoft.com/office/drawing/2014/main" val="1418549748"/>
                    </a:ext>
                  </a:extLst>
                </a:gridCol>
                <a:gridCol w="525159">
                  <a:extLst>
                    <a:ext uri="{9D8B030D-6E8A-4147-A177-3AD203B41FA5}">
                      <a16:colId xmlns:a16="http://schemas.microsoft.com/office/drawing/2014/main" val="1889496156"/>
                    </a:ext>
                  </a:extLst>
                </a:gridCol>
                <a:gridCol w="525159">
                  <a:extLst>
                    <a:ext uri="{9D8B030D-6E8A-4147-A177-3AD203B41FA5}">
                      <a16:colId xmlns:a16="http://schemas.microsoft.com/office/drawing/2014/main" val="3929713291"/>
                    </a:ext>
                  </a:extLst>
                </a:gridCol>
                <a:gridCol w="525159">
                  <a:extLst>
                    <a:ext uri="{9D8B030D-6E8A-4147-A177-3AD203B41FA5}">
                      <a16:colId xmlns:a16="http://schemas.microsoft.com/office/drawing/2014/main" val="474576069"/>
                    </a:ext>
                  </a:extLst>
                </a:gridCol>
                <a:gridCol w="525159">
                  <a:extLst>
                    <a:ext uri="{9D8B030D-6E8A-4147-A177-3AD203B41FA5}">
                      <a16:colId xmlns:a16="http://schemas.microsoft.com/office/drawing/2014/main" val="1724139373"/>
                    </a:ext>
                  </a:extLst>
                </a:gridCol>
                <a:gridCol w="573353">
                  <a:extLst>
                    <a:ext uri="{9D8B030D-6E8A-4147-A177-3AD203B41FA5}">
                      <a16:colId xmlns:a16="http://schemas.microsoft.com/office/drawing/2014/main" val="553785240"/>
                    </a:ext>
                  </a:extLst>
                </a:gridCol>
                <a:gridCol w="551748">
                  <a:extLst>
                    <a:ext uri="{9D8B030D-6E8A-4147-A177-3AD203B41FA5}">
                      <a16:colId xmlns:a16="http://schemas.microsoft.com/office/drawing/2014/main" val="2197638983"/>
                    </a:ext>
                  </a:extLst>
                </a:gridCol>
                <a:gridCol w="525159">
                  <a:extLst>
                    <a:ext uri="{9D8B030D-6E8A-4147-A177-3AD203B41FA5}">
                      <a16:colId xmlns:a16="http://schemas.microsoft.com/office/drawing/2014/main" val="3469858584"/>
                    </a:ext>
                  </a:extLst>
                </a:gridCol>
              </a:tblGrid>
              <a:tr h="45083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Decile (Rank)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# Customers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# Responders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# Non-Resp.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% Resp. Rate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Campaign Cost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Revenue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Profit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838904"/>
                  </a:ext>
                </a:extLst>
              </a:tr>
              <a:tr h="4286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295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705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29.5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*10</a:t>
                      </a:r>
                    </a:p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=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295*150=442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342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415926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76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824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7.6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264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64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942894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885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1.5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72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72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8061720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925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7.5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12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2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249483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965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3.5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52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-47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536458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97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3.0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45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-55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162428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977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2.3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34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-65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65577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982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.8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27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-73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513923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987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.3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9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-80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960935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993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0.70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-89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7610337"/>
                  </a:ext>
                </a:extLst>
              </a:tr>
              <a:tr h="2366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2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,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2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787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2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9,213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2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7.87%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2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0000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2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180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2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666666"/>
                          </a:solidFill>
                          <a:effectLst/>
                          <a:latin typeface="Arial" panose="020B0604020202020204" pitchFamily="34" charset="0"/>
                        </a:rPr>
                        <a:t>18050</a:t>
                      </a:r>
                    </a:p>
                  </a:txBody>
                  <a:tcPr marL="4987" marR="4987" marT="49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2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881183"/>
                  </a:ext>
                </a:extLst>
              </a:tr>
            </a:tbl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6B9143EA-9C3D-4778-B6F1-62DEF7F79F67}"/>
              </a:ext>
            </a:extLst>
          </p:cNvPr>
          <p:cNvSpPr/>
          <p:nvPr/>
        </p:nvSpPr>
        <p:spPr>
          <a:xfrm>
            <a:off x="4800139" y="1212897"/>
            <a:ext cx="470400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dirty="0"/>
              <a:t>Add previous evaluation data for measurement and comparison</a:t>
            </a:r>
          </a:p>
          <a:p>
            <a:pPr marL="342900" indent="-342900">
              <a:buFont typeface="+mj-lt"/>
              <a:buAutoNum type="arabicPeriod" startAt="2"/>
            </a:pPr>
            <a:endParaRPr lang="en-US" dirty="0"/>
          </a:p>
          <a:p>
            <a:pPr marL="342900" indent="-342900">
              <a:buFont typeface="+mj-lt"/>
              <a:buAutoNum type="arabicPeriod" startAt="2"/>
            </a:pPr>
            <a:r>
              <a:rPr lang="en-US" dirty="0"/>
              <a:t>Change Platform to simple responsive WebApp</a:t>
            </a:r>
          </a:p>
          <a:p>
            <a:pPr marL="342900" indent="-342900">
              <a:buFont typeface="+mj-lt"/>
              <a:buAutoNum type="arabicPeriod" startAt="2"/>
            </a:pPr>
            <a:endParaRPr lang="en-US" dirty="0"/>
          </a:p>
          <a:p>
            <a:r>
              <a:rPr lang="en-US" dirty="0"/>
              <a:t>      Any other ideas…</a:t>
            </a:r>
          </a:p>
        </p:txBody>
      </p:sp>
    </p:spTree>
    <p:extLst>
      <p:ext uri="{BB962C8B-B14F-4D97-AF65-F5344CB8AC3E}">
        <p14:creationId xmlns:p14="http://schemas.microsoft.com/office/powerpoint/2010/main" val="1471625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AMO_REPORTCONTROLSVISIBLE" val="Empty"/>
  <p:tag name="THINKCELLPRESENTATIONDONOTDELETE" val="&lt;?xml version=&quot;1.0&quot; encoding=&quot;UTF-16&quot; standalone=&quot;yes&quot;?&gt;&lt;root reqver=&quot;25060&quot;&gt;&lt;version val=&quot;278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1.34144100000000010553E+00&quot;&gt;&lt;m_msothmcolidx val=&quot;0&quot;/&gt;&lt;m_rgb r=&quot;63&quot; g=&quot;76&quot; b=&quot;0A&quot;/&gt;&lt;m_nBrightness endver=&quot;26206&quot; val=&quot;0&quot;/&gt;&lt;/elem&gt;&lt;elem m_fUsage=&quot;1.31381059609000017119E+00&quot;&gt;&lt;m_msothmcolidx val=&quot;0&quot;/&gt;&lt;m_rgb r=&quot;CB&quot; g=&quot;D3&quot; b=&quot;23&quot;/&gt;&lt;m_nBrightness endver=&quot;26206&quot; val=&quot;0&quot;/&gt;&lt;/elem&gt;&lt;elem m_fUsage=&quot;1.16983816909722282418E+00&quot;&gt;&lt;m_msothmcolidx val=&quot;0&quot;/&gt;&lt;m_rgb r=&quot;29&quot; g=&quot;25&quot; b=&quot;DC&quot;/&gt;&lt;m_nBrightness endver=&quot;26206&quot; val=&quot;0&quot;/&gt;&lt;/elem&gt;&lt;elem m_fUsage=&quot;8.21660360979833304107E-01&quot;&gt;&lt;m_msothmcolidx val=&quot;0&quot;/&gt;&lt;m_rgb r=&quot;E2&quot; g=&quot;A9&quot; b=&quot;83&quot;/&gt;&lt;m_nBrightness endver=&quot;26206&quot; val=&quot;0&quot;/&gt;&lt;/elem&gt;&lt;elem m_fUsage=&quot;7.29000000000000092371E-01&quot;&gt;&lt;m_msothmcolidx val=&quot;0&quot;/&gt;&lt;m_rgb r=&quot;54&quot; g=&quot;64&quot; b=&quot;09&quot;/&gt;&lt;m_nBrightness endver=&quot;26206&quot; val=&quot;0&quot;/&gt;&lt;/elem&gt;&lt;elem m_fUsage=&quot;6.56100000000000127542E-01&quot;&gt;&lt;m_msothmcolidx val=&quot;0&quot;/&gt;&lt;m_rgb r=&quot;E4&quot; g=&quot;EA&quot; b=&quot;B7&quot;/&gt;&lt;m_nBrightness endver=&quot;26206&quot; val=&quot;0&quot;/&gt;&lt;/elem&gt;&lt;elem m_fUsage=&quot;5.90490000000000181402E-01&quot;&gt;&lt;m_msothmcolidx val=&quot;0&quot;/&gt;&lt;m_rgb r=&quot;DB&quot; g=&quot;E2&quot; b=&quot;9C&quot;/&gt;&lt;m_nBrightness endver=&quot;26206&quot; val=&quot;0&quot;/&gt;&lt;/elem&gt;&lt;elem m_fUsage=&quot;4.94975791821474386811E-01&quot;&gt;&lt;m_msothmcolidx val=&quot;0&quot;/&gt;&lt;m_rgb r=&quot;39&quot; g=&quot;B7&quot; b=&quot;4D&quot;/&gt;&lt;m_nBrightness endver=&quot;26206&quot; val=&quot;0&quot;/&gt;&lt;/elem&gt;&lt;elem m_fUsage=&quot;4.78296900000000135833E-01&quot;&gt;&lt;m_msothmcolidx val=&quot;0&quot;/&gt;&lt;m_rgb r=&quot;4F&quot; g=&quot;5D&quot; b=&quot;56&quot;/&gt;&lt;m_nBrightness endver=&quot;26206&quot; val=&quot;0&quot;/&gt;&lt;/elem&gt;&lt;elem m_fUsage=&quot;3.87420489000000145552E-01&quot;&gt;&lt;m_msothmcolidx val=&quot;0&quot;/&gt;&lt;m_rgb r=&quot;9E&quot; g=&quot;C7&quot; b=&quot;8F&quot;/&gt;&lt;m_nBrightness endver=&quot;26206&quot; val=&quot;0&quot;/&gt;&lt;/elem&gt;&lt;elem m_fUsage=&quot;3.48678440100000153201E-01&quot;&gt;&lt;m_msothmcolidx val=&quot;0&quot;/&gt;&lt;m_rgb r=&quot;E6&quot; g=&quot;EB&quot; b=&quot;87&quot;/&gt;&lt;m_nBrightness endver=&quot;26206&quot; val=&quot;0&quot;/&gt;&lt;/elem&gt;&lt;elem m_fUsage=&quot;3.24820694756216332699E-01&quot;&gt;&lt;m_msothmcolidx val=&quot;0&quot;/&gt;&lt;m_rgb r=&quot;42&quot; g=&quot;C4&quot; b=&quot;48&quot;/&gt;&lt;m_nBrightness endver=&quot;26206&quot; val=&quot;0&quot;/&gt;&lt;/elem&gt;&lt;elem m_fUsage=&quot;2.54186582832900132001E-01&quot;&gt;&lt;m_msothmcolidx val=&quot;0&quot;/&gt;&lt;m_rgb r=&quot;F0&quot; g=&quot;ED&quot; b=&quot;6C&quot;/&gt;&lt;m_nBrightness endver=&quot;26206&quot; val=&quot;0&quot;/&gt;&lt;/elem&gt;&lt;elem m_fUsage=&quot;1.78243533295233708147E-01&quot;&gt;&lt;m_msothmcolidx val=&quot;0&quot;/&gt;&lt;m_rgb r=&quot;D8&quot; g=&quot;05&quot; b=&quot;9E&quot;/&gt;&lt;m_nBrightness endver=&quot;26206&quot; val=&quot;0&quot;/&gt;&lt;/elem&gt;&lt;elem m_fUsage=&quot;1.53733273522560970337E-01&quot;&gt;&lt;m_msothmcolidx val=&quot;0&quot;/&gt;&lt;m_rgb r=&quot;EF&quot; g=&quot;C8&quot; b=&quot;50&quot;/&gt;&lt;m_nBrightness endver=&quot;26206&quot; val=&quot;0&quot;/&gt;&lt;/elem&gt;&lt;elem m_fUsage=&quot;1.50094635296999207030E-01&quot;&gt;&lt;m_msothmcolidx val=&quot;0&quot;/&gt;&lt;m_rgb r=&quot;FD&quot; g=&quot;A2&quot; b=&quot;E3&quot;/&gt;&lt;m_nBrightness endver=&quot;26206&quot; val=&quot;0&quot;/&gt;&lt;/elem&gt;&lt;elem m_fUsage=&quot;1.35085171767299283552E-01&quot;&gt;&lt;m_msothmcolidx val=&quot;0&quot;/&gt;&lt;m_rgb r=&quot;B5&quot; g=&quot;B3&quot; b=&quot;F2&quot;/&gt;&lt;m_nBrightness endver=&quot;26206&quot; val=&quot;0&quot;/&gt;&lt;/elem&gt;&lt;elem m_fUsage=&quot;1.22760555895306835983E-01&quot;&gt;&lt;m_msothmcolidx val=&quot;0&quot;/&gt;&lt;m_rgb r=&quot;D3&quot; g=&quot;C8&quot; b=&quot;BA&quot;/&gt;&lt;m_nBrightness endver=&quot;26206&quot; val=&quot;0&quot;/&gt;&lt;/elem&gt;&lt;elem m_fUsage=&quot;1.21576654590569363523E-01&quot;&gt;&lt;m_msothmcolidx val=&quot;0&quot;/&gt;&lt;m_rgb r=&quot;8C&quot; g=&quot;8A&quot; b=&quot;EC&quot;/&gt;&lt;m_nBrightness endver=&quot;26206&quot; val=&quot;0&quot;/&gt;&lt;/elem&gt;&lt;elem m_fUsage=&quot;6.01701016721832640521E-02&quot;&gt;&lt;m_msothmcolidx val=&quot;0&quot;/&gt;&lt;m_rgb r=&quot;17&quot; g=&quot;7B&quot; b=&quot;02&quot;/&gt;&lt;m_nBrightness endver=&quot;26206&quot; val=&quot;0&quot;/&gt;&lt;/elem&gt;&lt;elem m_fUsage=&quot;4.12975436855968214278E-02&quot;&gt;&lt;m_msothmcolidx val=&quot;0&quot;/&gt;&lt;m_rgb r=&quot;E8&quot; g=&quot;FE&quot; b=&quot;49&quot;/&gt;&lt;m_nBrightness endver=&quot;26206&quot; val=&quot;0&quot;/&gt;&lt;/elem&gt;&lt;elem m_fUsage=&quot;3.16127149915967839422E-02&quot;&gt;&lt;m_msothmcolidx val=&quot;0&quot;/&gt;&lt;m_rgb r=&quot;8E&quot; g=&quot;C1&quot; b=&quot;4A&quot;/&gt;&lt;m_nBrightness endver=&quot;26206&quot; val=&quot;0&quot;/&gt;&lt;/elem&gt;&lt;elem m_fUsage=&quot;1.82480036314007498799E-02&quot;&gt;&lt;m_msothmcolidx val=&quot;0&quot;/&gt;&lt;m_rgb r=&quot;D1&quot; g=&quot;E1&quot; b=&quot;64&quot;/&gt;&lt;m_nBrightness endver=&quot;26206&quot; val=&quot;0&quot;/&gt;&lt;/elem&gt;&lt;elem m_fUsage=&quot;1.73429731705395974439E-02&quot;&gt;&lt;m_msothmcolidx val=&quot;0&quot;/&gt;&lt;m_rgb r=&quot;F5&quot; g=&quot;D8&quot; b=&quot;0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jeLc0HuG8psbQBAU4o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jeLc0HuG8psbQBAU4o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jeLc0HuG8psbQBAU4o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jeLc0HuG8psbQBAU4o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jeLc0HuG8psbQBAU4o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rdUHxsSZahWAF8O2FZ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5H_3RCSxGpI8UV.rlM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jeLc0HuG8psbQBAU4o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ax Templat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 w="3175" cap="flat">
          <a:solidFill>
            <a:schemeClr val="tx1">
              <a:lumMod val="50000"/>
              <a:lumOff val="50000"/>
            </a:schemeClr>
          </a:solidFill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27F3D13E0F7A47871A3081E9E18D59" ma:contentTypeVersion="13" ma:contentTypeDescription="Create a new document." ma:contentTypeScope="" ma:versionID="da6865b8f1f56f44fe7a351efc9ce1f2">
  <xsd:schema xmlns:xsd="http://www.w3.org/2001/XMLSchema" xmlns:xs="http://www.w3.org/2001/XMLSchema" xmlns:p="http://schemas.microsoft.com/office/2006/metadata/properties" xmlns:ns3="33413f6e-7d29-40b7-9bd7-b2df7f13f93e" xmlns:ns4="428ad406-2b8d-4e8f-a067-393664b508f1" targetNamespace="http://schemas.microsoft.com/office/2006/metadata/properties" ma:root="true" ma:fieldsID="b7574426f3d9e21d576ff875dc8d1906" ns3:_="" ns4:_="">
    <xsd:import namespace="33413f6e-7d29-40b7-9bd7-b2df7f13f93e"/>
    <xsd:import namespace="428ad406-2b8d-4e8f-a067-393664b508f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413f6e-7d29-40b7-9bd7-b2df7f13f9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8ad406-2b8d-4e8f-a067-393664b508f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92830EA-4983-4557-984C-0682FEF552C1}">
  <ds:schemaRefs>
    <ds:schemaRef ds:uri="http://schemas.microsoft.com/office/2006/documentManagement/types"/>
    <ds:schemaRef ds:uri="http://purl.org/dc/dcmitype/"/>
    <ds:schemaRef ds:uri="http://purl.org/dc/elements/1.1/"/>
    <ds:schemaRef ds:uri="33413f6e-7d29-40b7-9bd7-b2df7f13f93e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428ad406-2b8d-4e8f-a067-393664b508f1"/>
  </ds:schemaRefs>
</ds:datastoreItem>
</file>

<file path=customXml/itemProps2.xml><?xml version="1.0" encoding="utf-8"?>
<ds:datastoreItem xmlns:ds="http://schemas.openxmlformats.org/officeDocument/2006/customXml" ds:itemID="{526C50FC-BB22-4D98-9A52-C45D3853E2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3413f6e-7d29-40b7-9bd7-b2df7f13f93e"/>
    <ds:schemaRef ds:uri="428ad406-2b8d-4e8f-a067-393664b508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7D7199-F82B-4485-A97F-B7B01710C94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3</Words>
  <Application>Microsoft Office PowerPoint</Application>
  <PresentationFormat>A4 Paper (210x297 mm)</PresentationFormat>
  <Paragraphs>516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Arial </vt:lpstr>
      <vt:lpstr>Open Sans</vt:lpstr>
      <vt:lpstr>Emax Template</vt:lpstr>
      <vt:lpstr>think-cell Slide</vt:lpstr>
      <vt:lpstr>  O2O (Offline to Online) Model</vt:lpstr>
      <vt:lpstr> Model Framework</vt:lpstr>
      <vt:lpstr> Model Evaluation &amp; Results: For December Conversions (Old Results)</vt:lpstr>
      <vt:lpstr> Model Evaluation &amp; Results: For December Conversions</vt:lpstr>
      <vt:lpstr> Model Evaluation &amp; Results: For December Conversions</vt:lpstr>
      <vt:lpstr> Model Evaluation &amp; Results: For January Conversions</vt:lpstr>
      <vt:lpstr> Future Scop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mg</dc:title>
  <dc:creator/>
  <cp:lastModifiedBy/>
  <cp:revision>1</cp:revision>
  <dcterms:created xsi:type="dcterms:W3CDTF">2015-01-11T09:05:14Z</dcterms:created>
  <dcterms:modified xsi:type="dcterms:W3CDTF">2021-02-26T09:15:56Z</dcterms:modified>
  <cp:category>112013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27F3D13E0F7A47871A3081E9E18D59</vt:lpwstr>
  </property>
</Properties>
</file>